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</p:sldMasterIdLst>
  <p:notesMasterIdLst>
    <p:notesMasterId r:id="rId13"/>
  </p:notesMasterIdLst>
  <p:sldIdLst>
    <p:sldId id="256" r:id="rId2"/>
    <p:sldId id="288" r:id="rId3"/>
    <p:sldId id="290" r:id="rId4"/>
    <p:sldId id="291" r:id="rId5"/>
    <p:sldId id="285" r:id="rId6"/>
    <p:sldId id="289" r:id="rId7"/>
    <p:sldId id="269" r:id="rId8"/>
    <p:sldId id="270" r:id="rId9"/>
    <p:sldId id="275" r:id="rId10"/>
    <p:sldId id="277" r:id="rId11"/>
    <p:sldId id="292" r:id="rId12"/>
  </p:sldIdLst>
  <p:sldSz cx="9906000" cy="6858000" type="A4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5880"/>
    <a:srgbClr val="2182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94660"/>
  </p:normalViewPr>
  <p:slideViewPr>
    <p:cSldViewPr snapToGrid="0">
      <p:cViewPr varScale="1">
        <p:scale>
          <a:sx n="91" d="100"/>
          <a:sy n="91" d="100"/>
        </p:scale>
        <p:origin x="115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42-48CD-901A-8BE5365C25F5}"/>
                </c:ext>
              </c:extLst>
            </c:dLbl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5</c:f>
              <c:strCache>
                <c:ptCount val="14"/>
                <c:pt idx="0">
                  <c:v> </c:v>
                </c:pt>
                <c:pt idx="1">
                  <c:v>Казахстан</c:v>
                </c:pt>
                <c:pt idx="2">
                  <c:v>Китай</c:v>
                </c:pt>
                <c:pt idx="3">
                  <c:v>Узбекистан</c:v>
                </c:pt>
                <c:pt idx="4">
                  <c:v>США</c:v>
                </c:pt>
                <c:pt idx="5">
                  <c:v>Бразилия</c:v>
                </c:pt>
                <c:pt idx="6">
                  <c:v>Кыргызстан</c:v>
                </c:pt>
                <c:pt idx="7">
                  <c:v>Австралия</c:v>
                </c:pt>
                <c:pt idx="8">
                  <c:v>Беларусь</c:v>
                </c:pt>
                <c:pt idx="9">
                  <c:v>Япония</c:v>
                </c:pt>
                <c:pt idx="10">
                  <c:v>Литва</c:v>
                </c:pt>
                <c:pt idx="11">
                  <c:v>Украина</c:v>
                </c:pt>
                <c:pt idx="12">
                  <c:v>Россия</c:v>
                </c:pt>
                <c:pt idx="13">
                  <c:v>Германи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0</c:v>
                </c:pt>
                <c:pt idx="1">
                  <c:v>18.7</c:v>
                </c:pt>
                <c:pt idx="2">
                  <c:v>25.9</c:v>
                </c:pt>
                <c:pt idx="3">
                  <c:v>26</c:v>
                </c:pt>
                <c:pt idx="4">
                  <c:v>31.2</c:v>
                </c:pt>
                <c:pt idx="5">
                  <c:v>31.5</c:v>
                </c:pt>
                <c:pt idx="6">
                  <c:v>34</c:v>
                </c:pt>
                <c:pt idx="7">
                  <c:v>35.1</c:v>
                </c:pt>
                <c:pt idx="8">
                  <c:v>35.4</c:v>
                </c:pt>
                <c:pt idx="9">
                  <c:v>35.5</c:v>
                </c:pt>
                <c:pt idx="10">
                  <c:v>36.4</c:v>
                </c:pt>
                <c:pt idx="11">
                  <c:v>36.6</c:v>
                </c:pt>
                <c:pt idx="12">
                  <c:v>37</c:v>
                </c:pt>
                <c:pt idx="13">
                  <c:v>4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9-4B8A-BCE6-AA066222A8D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0407775"/>
        <c:axId val="1700406111"/>
      </c:barChart>
      <c:catAx>
        <c:axId val="170040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00406111"/>
        <c:crosses val="autoZero"/>
        <c:auto val="1"/>
        <c:lblAlgn val="ctr"/>
        <c:lblOffset val="100"/>
        <c:noMultiLvlLbl val="0"/>
      </c:catAx>
      <c:valAx>
        <c:axId val="1700406111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70040777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3CD60D-DFAB-4C0F-8F07-1B86E2222998}" type="datetimeFigureOut">
              <a:rPr lang="ru-RU" smtClean="0"/>
              <a:t>03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1243013"/>
            <a:ext cx="4848225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8E4C98-094A-4E48-88F6-E285DE716B6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442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8E4C98-094A-4E48-88F6-E285DE716B6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70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oleObject" Target="../embeddings/oleObject1.bin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oleObject" Target="../embeddings/oleObject2.bin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8FB4D-211F-4078-8A02-C50F17136C36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1998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F132D-6102-4DEE-B560-065A01F7F12A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2621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6A7E6-5FE0-4F65-B9D6-61DCFC691B50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854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5419" cy="162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2" imgW="0" imgH="0" progId="TCLayout.ActiveDocument.1">
                  <p:embed/>
                </p:oleObj>
              </mc:Choice>
              <mc:Fallback>
                <p:oleObj name="think-cell Slide" r:id="rId42" imgW="0" imgH="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19" cy="1629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5419" cy="16298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575" dirty="0">
              <a:solidFill>
                <a:srgbClr val="000000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5" y="78318"/>
            <a:ext cx="315792" cy="1020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ru-RU" sz="663" cap="all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89177" y="565151"/>
            <a:ext cx="9527646" cy="25188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26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326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89177" y="6434667"/>
            <a:ext cx="8881004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63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89177" y="6639984"/>
            <a:ext cx="8881004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/>
          <a:p>
            <a:pPr marL="505323" indent="-505323" defTabSz="742193" eaLnBrk="1" hangingPunct="1">
              <a:tabLst>
                <a:tab pos="522430" algn="l"/>
              </a:tabLst>
              <a:defRPr/>
            </a:pPr>
            <a:r>
              <a:rPr lang="ru-RU" sz="663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89177" y="1374780"/>
            <a:ext cx="4541970" cy="426506"/>
            <a:chOff x="915" y="767"/>
            <a:chExt cx="2686" cy="263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67"/>
              <a:ext cx="2686" cy="2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ru-RU" sz="1326" b="1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pPr eaLnBrk="1" hangingPunct="1">
                <a:defRPr/>
              </a:pPr>
              <a:r>
                <a:rPr lang="ru-RU" sz="1326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9396931" y="334432"/>
            <a:ext cx="319881" cy="162984"/>
            <a:chOff x="8404670" y="285750"/>
            <a:chExt cx="336105" cy="159288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418602" y="285750"/>
              <a:ext cx="322173" cy="12677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742193" eaLnBrk="1" hangingPunct="1">
                <a:buClr>
                  <a:srgbClr val="002960"/>
                </a:buClr>
                <a:defRPr/>
              </a:pPr>
              <a:r>
                <a:rPr lang="ru-RU" sz="663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sp>
        <p:nvSpPr>
          <p:cNvPr id="16" name="SlideBottomBar" hidden="1"/>
          <p:cNvSpPr/>
          <p:nvPr/>
        </p:nvSpPr>
        <p:spPr>
          <a:xfrm>
            <a:off x="9405542" y="6455833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26" dirty="0">
              <a:solidFill>
                <a:schemeClr val="tx1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8339268" y="277284"/>
            <a:ext cx="1058465" cy="735193"/>
            <a:chOff x="7607284" y="279400"/>
            <a:chExt cx="957264" cy="720646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7289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2862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957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8769" y="279400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8769" y="547047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8769" y="825068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679790" y="277284"/>
            <a:ext cx="717946" cy="1022350"/>
            <a:chOff x="5894005" y="919828"/>
            <a:chExt cx="649289" cy="1001199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6775"/>
              <a:ext cx="164865" cy="1616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6249"/>
              <a:ext cx="164865" cy="16168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7796"/>
              <a:ext cx="164865" cy="16168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59343"/>
              <a:ext cx="164865" cy="16168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7523" y="919828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7523" y="1189302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7523" y="1460848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7523" y="1732396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8605837" y="279401"/>
            <a:ext cx="791896" cy="1339063"/>
            <a:chOff x="5894005" y="2696542"/>
            <a:chExt cx="715970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91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91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9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9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3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3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314" y="2696542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314" y="2974578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314" y="3248465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4314" y="3522351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4314" y="3796238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2151460" y="1731434"/>
            <a:ext cx="1685396" cy="1555751"/>
          </a:xfrm>
          <a:prstGeom prst="ellipse">
            <a:avLst/>
          </a:prstGeom>
          <a:solidFill>
            <a:schemeClr val="accent1"/>
          </a:solidFill>
        </p:spPr>
        <p:txBody>
          <a:bodyPr lIns="29844" tIns="29844" rIns="29844" bIns="2984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970999" y="1731434"/>
            <a:ext cx="1685396" cy="1555751"/>
          </a:xfrm>
          <a:prstGeom prst="rect">
            <a:avLst/>
          </a:prstGeom>
          <a:solidFill>
            <a:schemeClr val="accent1"/>
          </a:solidFill>
        </p:spPr>
        <p:txBody>
          <a:bodyPr lIns="59688" tIns="59688" rIns="59688" bIns="59688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843852" y="1731434"/>
            <a:ext cx="1687116" cy="1555751"/>
          </a:xfrm>
          <a:prstGeom prst="roundRect">
            <a:avLst/>
          </a:prstGeom>
          <a:solidFill>
            <a:schemeClr val="accent1"/>
          </a:solidFill>
        </p:spPr>
        <p:txBody>
          <a:bodyPr lIns="59688" tIns="59688" rIns="59688" bIns="59688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2151460" y="4525434"/>
            <a:ext cx="2022475" cy="93133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59688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270493" y="3119174"/>
            <a:ext cx="3153833" cy="37835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9688" tIns="59688" rIns="59688" bIns="59688" anchor="ctr"/>
          <a:lstStyle/>
          <a:p>
            <a:pPr eaLnBrk="1" hangingPunct="1">
              <a:defRPr/>
            </a:pPr>
            <a:endParaRPr lang="en-US" sz="1326" dirty="0">
              <a:latin typeface="+mn-lt"/>
              <a:ea typeface="+mn-ea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586803" y="3539067"/>
            <a:ext cx="211535" cy="168486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26" baseline="30000" dirty="0"/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063185" y="3539068"/>
            <a:ext cx="280326" cy="258233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>
                <a:solidFill>
                  <a:schemeClr val="tx1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/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69992" y="4699000"/>
            <a:ext cx="386953" cy="814917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59688" tIns="59688" rIns="59688" bIns="59688"/>
          <a:lstStyle/>
          <a:p>
            <a:pPr defTabSz="742193" eaLnBrk="1" hangingPunct="1">
              <a:buClr>
                <a:schemeClr val="tx2"/>
              </a:buClr>
              <a:buSzPct val="100000"/>
              <a:defRPr/>
            </a:pPr>
            <a:endParaRPr lang="ru-RU" sz="1326" dirty="0">
              <a:latin typeface="Arial" charset="0"/>
              <a:ea typeface="+mn-ea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922044" y="4699000"/>
            <a:ext cx="588169" cy="814917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9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5" y="1270000"/>
              <a:ext cx="1584887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675312" y="4699000"/>
            <a:ext cx="722313" cy="814917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8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2333" y="1270000"/>
              <a:ext cx="2129624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2153735" y="3538594"/>
            <a:ext cx="202331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>
                <a:solidFill>
                  <a:schemeClr val="tx1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370446" y="3538594"/>
            <a:ext cx="2022087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326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326" b="1" dirty="0">
                <a:solidFill>
                  <a:schemeClr val="tx1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</p:grpSp>
      <p:sp>
        <p:nvSpPr>
          <p:cNvPr id="78" name="Slide Number"/>
          <p:cNvSpPr txBox="1">
            <a:spLocks/>
          </p:cNvSpPr>
          <p:nvPr userDrawn="1"/>
        </p:nvSpPr>
        <p:spPr bwMode="auto">
          <a:xfrm>
            <a:off x="9577520" y="6653472"/>
            <a:ext cx="100990" cy="10002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BB1B4628-2EC3-4A11-90E4-A53895DFBF0C}" type="slidenum">
              <a:rPr lang="ru-RU" altLang="x-none" sz="650" smtClean="0">
                <a:solidFill>
                  <a:srgbClr val="808080"/>
                </a:solidFill>
                <a:latin typeface="Segoe UI Light" panose="020B0502040204020203" pitchFamily="34" charset="0"/>
              </a:rPr>
              <a:pPr eaLnBrk="1" hangingPunct="1">
                <a:defRPr/>
              </a:pPr>
              <a:t>‹#›</a:t>
            </a:fld>
            <a:endParaRPr lang="ru-RU" altLang="x-none" sz="650" dirty="0">
              <a:solidFill>
                <a:srgbClr val="808080"/>
              </a:solidFill>
              <a:latin typeface="Segoe UI Light" panose="020B0502040204020203" pitchFamily="34" charset="0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3" imgW="0" imgH="0" progId="TCLayout.ActiveDocument.1">
                  <p:embed/>
                </p:oleObj>
              </mc:Choice>
              <mc:Fallback>
                <p:oleObj name="think-cell Slide" r:id="rId43" imgW="0" imgH="0" progId="TCLayout.ActiveDocument.1">
                  <p:embed/>
                  <p:pic>
                    <p:nvPicPr>
                      <p:cNvPr id="79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75419" cy="16298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575" dirty="0">
              <a:solidFill>
                <a:schemeClr val="tx1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1" name="Slide Number"/>
          <p:cNvSpPr txBox="1">
            <a:spLocks/>
          </p:cNvSpPr>
          <p:nvPr userDrawn="1"/>
        </p:nvSpPr>
        <p:spPr bwMode="auto">
          <a:xfrm>
            <a:off x="9577520" y="6653472"/>
            <a:ext cx="100990" cy="10002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BF3E8C92-D038-4A4C-8203-E3C1245C17BD}" type="slidenum">
              <a:rPr lang="ru-RU" altLang="x-none" sz="650" smtClean="0">
                <a:solidFill>
                  <a:srgbClr val="808080"/>
                </a:solidFill>
                <a:latin typeface="Segoe UI Light" panose="020B0502040204020203" pitchFamily="34" charset="0"/>
              </a:rPr>
              <a:pPr eaLnBrk="1" hangingPunct="1">
                <a:defRPr/>
              </a:pPr>
              <a:t>‹#›</a:t>
            </a:fld>
            <a:endParaRPr lang="ru-RU" altLang="x-none" sz="650" dirty="0">
              <a:solidFill>
                <a:srgbClr val="808080"/>
              </a:solidFill>
              <a:latin typeface="Segoe UI Light" panose="020B0502040204020203" pitchFamily="34" charset="0"/>
            </a:endParaRPr>
          </a:p>
        </p:txBody>
      </p:sp>
      <p:sp>
        <p:nvSpPr>
          <p:cNvPr id="82" name="doc id" hidden="1"/>
          <p:cNvSpPr>
            <a:spLocks noChangeArrowheads="1"/>
          </p:cNvSpPr>
          <p:nvPr userDrawn="1"/>
        </p:nvSpPr>
        <p:spPr bwMode="auto">
          <a:xfrm>
            <a:off x="8934319" y="50801"/>
            <a:ext cx="725752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742193" eaLnBrk="1" hangingPunct="1">
              <a:defRPr/>
            </a:pPr>
            <a:endParaRPr lang="ru-RU" sz="663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89524" y="190011"/>
            <a:ext cx="9526956" cy="2983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3887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78F60-529D-4986-BA49-81796303C6F1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66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39CA-8AB5-44B1-A977-3CC2F4EC587F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49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C68FD-B8A4-4F86-9212-BAE1F350365F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93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C78B8-1FE0-4C4B-998E-700EEA623355}" type="datetime1">
              <a:rPr lang="ru-RU" smtClean="0"/>
              <a:t>03.05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1278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EE242-5C00-4D1C-A1C8-035DB6D42984}" type="datetime1">
              <a:rPr lang="ru-RU" smtClean="0"/>
              <a:t>03.05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86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01564-76CE-4B79-A392-DCCF141573E7}" type="datetime1">
              <a:rPr lang="ru-RU" smtClean="0"/>
              <a:t>03.05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35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DAC33-03F5-461F-827C-B131066A4F9B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476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A367D-9E32-4818-B9C8-87D543B35672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49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3B61-3AB8-425F-839F-4E8206E8F983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5182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 bwMode="auto">
          <a:xfrm>
            <a:off x="297834" y="2753776"/>
            <a:ext cx="9161063" cy="129266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2800" b="1" ker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едлагаемых подходах при разработке проекта нового Налогового кодекса в части налоговой политики</a:t>
            </a:r>
            <a:endParaRPr lang="ru-RU" sz="2800" i="1" kern="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1"/>
          <p:cNvSpPr txBox="1">
            <a:spLocks/>
          </p:cNvSpPr>
          <p:nvPr/>
        </p:nvSpPr>
        <p:spPr>
          <a:xfrm>
            <a:off x="0" y="6480397"/>
            <a:ext cx="9906000" cy="2251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ru-RU" sz="1463" kern="0" dirty="0">
                <a:latin typeface="Arial" panose="020B0604020202020204" pitchFamily="34" charset="0"/>
                <a:cs typeface="Arial" panose="020B0604020202020204" pitchFamily="34" charset="0"/>
              </a:rPr>
              <a:t>2023 г.</a:t>
            </a:r>
          </a:p>
        </p:txBody>
      </p:sp>
      <p:sp>
        <p:nvSpPr>
          <p:cNvPr id="6" name="Subtitle 1"/>
          <p:cNvSpPr txBox="1">
            <a:spLocks/>
          </p:cNvSpPr>
          <p:nvPr/>
        </p:nvSpPr>
        <p:spPr>
          <a:xfrm>
            <a:off x="-45837" y="450622"/>
            <a:ext cx="9906000" cy="3000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ru-RU" sz="1950" kern="0" dirty="0">
                <a:latin typeface="Arial" panose="020B0604020202020204" pitchFamily="34" charset="0"/>
                <a:cs typeface="Arial" panose="020B0604020202020204" pitchFamily="34" charset="0"/>
              </a:rPr>
              <a:t>МИНИСТЕРСТВО НАЦИОНАЛЬНОЙ ЭКОНОМИКИ РК</a:t>
            </a:r>
          </a:p>
        </p:txBody>
      </p:sp>
      <p:pic>
        <p:nvPicPr>
          <p:cNvPr id="7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15476" y="837788"/>
            <a:ext cx="925781" cy="97649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866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9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ru-RU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ОБЛОЖЕНИЕ ПРЕДМЕТОВ РОСКОШИ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38796" y="935478"/>
            <a:ext cx="4063329" cy="260071"/>
            <a:chOff x="124826" y="626481"/>
            <a:chExt cx="4062525" cy="261639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24826" y="888120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626481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ОЖЕНИЕ</a:t>
              </a: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5353253" y="922348"/>
            <a:ext cx="4025181" cy="275720"/>
            <a:chOff x="4674658" y="604409"/>
            <a:chExt cx="4025514" cy="276045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674658" y="604409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СНОВАНИЕ</a:t>
              </a: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02517" y="880454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" name="Прямоугольник 10"/>
          <p:cNvSpPr/>
          <p:nvPr/>
        </p:nvSpPr>
        <p:spPr>
          <a:xfrm>
            <a:off x="-7499" y="1026432"/>
            <a:ext cx="4957516" cy="58015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Увеличение ставок налога на транспортные средства н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яхты, частные самолеты 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1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Повышенно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налогообложение автомобилей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о стоимостью свыше 50 млн. тенге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Повышенно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налогообложение при наличии у физического лиц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более 3 квартир (домов), земельных участков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в увязке с площадью имущества и участков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Дополнительный акциз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н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дорогостоящие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лкогольную и табачную продукцию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defRPr/>
            </a:pPr>
            <a:endParaRPr lang="ru-RU" sz="1600" b="1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3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27402" y="1326733"/>
            <a:ext cx="4849026" cy="6324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ты, частные самолеты имеются </a:t>
            </a:r>
            <a:b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ограниченного круга лиц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0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яхт в собственности у ФЛ,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6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у ЮЛ; </a:t>
            </a:r>
            <a:b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8 самолетов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в собственности у ФЛ,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5 –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ЮЛ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еждународной практике широко применяется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ное налогообложение дорогих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ей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состоятельные граждане имеют по несколько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ов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kk-KZ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некоторых алкогольных продуктов за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ицу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ит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-6 млн. тенг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 доля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а в ней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начительная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00-700 тенге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950017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4"/>
          <p:cNvCxnSpPr>
            <a:cxnSpLocks/>
          </p:cNvCxnSpPr>
          <p:nvPr/>
        </p:nvCxnSpPr>
        <p:spPr>
          <a:xfrm flipV="1">
            <a:off x="59415" y="2482788"/>
            <a:ext cx="9614023" cy="750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238796" y="3623296"/>
            <a:ext cx="9537707" cy="1980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4"/>
          <p:cNvCxnSpPr>
            <a:cxnSpLocks/>
          </p:cNvCxnSpPr>
          <p:nvPr/>
        </p:nvCxnSpPr>
        <p:spPr>
          <a:xfrm>
            <a:off x="107950" y="5225363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5823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10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kk-KZ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ВОПРОСЫ, КОТОРЫЕ НАХОДЯТСЯ В РАБОТЕ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7950" y="1026432"/>
            <a:ext cx="940891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е эффективности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логовых </a:t>
            </a: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ьгот</a:t>
            </a: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смотр налогообложения </a:t>
            </a: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изических лиц</a:t>
            </a: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ноценная </a:t>
            </a: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стема вычетов по ИПН</a:t>
            </a: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армонизация ставок </a:t>
            </a: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кцизов на сигареты </a:t>
            </a: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мках ЕАЭС</a:t>
            </a: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ru-RU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нижение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логовой нагрузки для малорентабельных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новых проектов по добыче твердых полезных ископаемых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 обмен на создание рабочих мест, строительство перерабатывающих мощностей, выполнение соцобязательств месторождений</a:t>
            </a:r>
            <a:endParaRPr lang="kk-KZ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ru-RU" sz="11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097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244474" y="255588"/>
            <a:ext cx="981392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АНИЕ ГЛАВЫ ГОСУДАРСТВА НАРОДУ КАЗАХСТАНА </a:t>
            </a:r>
            <a:endParaRPr lang="x-none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21">
            <a:extLst>
              <a:ext uri="{FF2B5EF4-FFF2-40B4-BE49-F238E27FC236}">
                <a16:creationId xmlns:a16="http://schemas.microsoft.com/office/drawing/2014/main" id="{6498170D-9458-40BB-8F18-1CF7502FD17D}"/>
              </a:ext>
            </a:extLst>
          </p:cNvPr>
          <p:cNvGrpSpPr/>
          <p:nvPr/>
        </p:nvGrpSpPr>
        <p:grpSpPr>
          <a:xfrm>
            <a:off x="2382719" y="1147637"/>
            <a:ext cx="559362" cy="596002"/>
            <a:chOff x="-17517" y="2382851"/>
            <a:chExt cx="592080" cy="596002"/>
          </a:xfrm>
        </p:grpSpPr>
        <p:sp>
          <p:nvSpPr>
            <p:cNvPr id="7" name="Oval 118">
              <a:extLst>
                <a:ext uri="{FF2B5EF4-FFF2-40B4-BE49-F238E27FC236}">
                  <a16:creationId xmlns:a16="http://schemas.microsoft.com/office/drawing/2014/main" id="{18FD470E-0CD3-4D72-BD47-905EC0A4E48B}"/>
                </a:ext>
              </a:extLst>
            </p:cNvPr>
            <p:cNvSpPr/>
            <p:nvPr/>
          </p:nvSpPr>
          <p:spPr>
            <a:xfrm>
              <a:off x="-17517" y="2382851"/>
              <a:ext cx="592080" cy="596002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F9C61B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pic>
          <p:nvPicPr>
            <p:cNvPr id="8" name="Picture 1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B1009F8-E0A4-438E-9A01-5D4648D45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522" y="2452039"/>
              <a:ext cx="360000" cy="360000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2FF8706-B89E-4D46-AD8E-12986D4ED8FF}"/>
              </a:ext>
            </a:extLst>
          </p:cNvPr>
          <p:cNvSpPr txBox="1"/>
          <p:nvPr/>
        </p:nvSpPr>
        <p:spPr>
          <a:xfrm>
            <a:off x="3051708" y="969252"/>
            <a:ext cx="6726156" cy="54845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АНИЕ ГЛАВЫ ГОСУДАРСТВА НАРОДУ КАЗАХСТАНА </a:t>
            </a:r>
            <a:b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я 2022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 «СПРАВЕДЛИВОЕ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О. ЕДИНАЯ НАЦИЯ. БЛАГОПОЛУЧНО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</a:t>
            </a:r>
            <a:r>
              <a:rPr lang="ru-RU" sz="16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600" b="1" i="1" noProof="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90477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«…</a:t>
            </a:r>
          </a:p>
          <a:p>
            <a:pPr lvl="0" algn="just" defTabSz="690477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Треть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Устойчивый экономический рост напрямую зависит от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понятной, предсказуемо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налоговой политики. В целях перезагрузки фискального регулирования в 2023 году будет подготовлен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новый Налоговый кодекс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Его наиболее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проблемный блок – налоговое администрирование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– должен быть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полностью обновле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Предстоит также обеспечить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полную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цифровизацию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налогового контроля, исключив любое очное взаимодействие. Еще один приоритет –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налогового стимулирования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Для этого следует перейти к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дифференцированным налоговым ставкам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в разных секторах экономики. Нужно внедрить механ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измы снижения или освобождения от корпоративного подоходного налога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с прибыли, направленной на технологическую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модернизацию и научные разработки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Потребуется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упростить специальные налоговые режимы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с тем, чтобы минимизировать соблазны для уклонения от уплаты налогов. В новом кодексе следует предусмотреть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недопущение намеренного дробления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й с целью снижения налоговой нагрузки. Для развития цивилизованной торговли предстоит 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расширить применение розничного налога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с адекватными ставками и простыми процедурами. В рамках налоговой реформы важно рассмотреть возможность введения так называемого «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налога на роскошь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». Он будет взиматься при приобретении дорогостоящих объектов недвижимости, транспортных средств и не затронет средний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.</a:t>
            </a:r>
          </a:p>
          <a:p>
            <a:pPr lvl="0" algn="r" defTabSz="690477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  <a:r>
              <a:rPr lang="ru-RU" sz="1200" b="1" i="1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kumimoji="0" lang="ru-RU" sz="12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 descr="C:\Users\kazbekov_e\Downloads\dsc-8977-24_mediumThumb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0" y="1078773"/>
            <a:ext cx="2237970" cy="215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66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2</a:t>
            </a:fld>
            <a:endParaRPr lang="ru-RU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64921" y="255588"/>
            <a:ext cx="964108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АВНИТЕЛЬНЫЙ АНАЛИЗ ДОХОДОВ К ВВП</a:t>
            </a:r>
            <a:endParaRPr lang="x-none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Диаграмма 5"/>
          <p:cNvGraphicFramePr/>
          <p:nvPr>
            <p:extLst/>
          </p:nvPr>
        </p:nvGraphicFramePr>
        <p:xfrm>
          <a:off x="264921" y="1147637"/>
          <a:ext cx="8960042" cy="4484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Рисунок 49" descr="kazakhstan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188" y="4677263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45" descr="china_64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462" y="4684933"/>
            <a:ext cx="344487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46" descr="uzbekistan_64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962" y="4674190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398" y="4683612"/>
            <a:ext cx="250389" cy="26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51" descr="united_states_of_america_64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461" y="4677263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48" descr="kyrgyzstan_64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441" y="4681304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5"/>
          <p:cNvPicPr>
            <a:picLocks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45169" y="4732155"/>
            <a:ext cx="229917" cy="17415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Рисунок 44" descr="lithuania_640 (1)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764" y="4680880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53" descr="australia_640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170" y="4681303"/>
            <a:ext cx="34607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55" descr="belarus_640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037" y="4686815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59" descr="ukraine_640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653" y="4670654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56" descr="germany_640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289" y="4652369"/>
            <a:ext cx="3556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54" descr="russia_640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963" y="4667732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483531" y="6356352"/>
            <a:ext cx="122341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По </a:t>
            </a:r>
            <a:r>
              <a:rPr lang="ru-RU" sz="1050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е МВФ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6963" y="1040798"/>
            <a:ext cx="5928206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ы консолидированного бюджета</a:t>
            </a:r>
            <a:r>
              <a:rPr lang="ru-RU" sz="2400" b="1" dirty="0"/>
              <a:t/>
            </a:r>
            <a:br>
              <a:rPr lang="ru-RU" sz="2400" b="1" dirty="0"/>
            </a:br>
            <a:r>
              <a:rPr lang="ru-RU" sz="1400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к ВВП </a:t>
            </a:r>
            <a:r>
              <a:rPr lang="ru-RU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r>
              <a:rPr lang="ru-RU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г*.</a:t>
            </a:r>
            <a:r>
              <a:rPr lang="en-US" sz="2400" i="1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09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3795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103" y="308248"/>
            <a:ext cx="9606896" cy="362407"/>
          </a:xfrm>
        </p:spPr>
        <p:txBody>
          <a:bodyPr wrap="square">
            <a:spAutoFit/>
          </a:bodyPr>
          <a:lstStyle/>
          <a:p>
            <a:pPr defTabSz="742193">
              <a:tabLst>
                <a:tab pos="223710" algn="l"/>
              </a:tabLst>
              <a:defRPr/>
            </a:pPr>
            <a:r>
              <a:rPr lang="kk-KZ" sz="195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АВНИТЕЛЬНЫЙ АНАЛИЗ СТАВОК ОСНОВНЫХ НАЛОГОВ</a:t>
            </a:r>
            <a:endParaRPr lang="x-none" sz="19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 hidden="1"/>
          <p:cNvSpPr/>
          <p:nvPr/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16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0547484"/>
              </p:ext>
            </p:extLst>
          </p:nvPr>
        </p:nvGraphicFramePr>
        <p:xfrm>
          <a:off x="124355" y="1007894"/>
          <a:ext cx="9403098" cy="553723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83098">
                  <a:extLst>
                    <a:ext uri="{9D8B030D-6E8A-4147-A177-3AD203B41FA5}">
                      <a16:colId xmlns:a16="http://schemas.microsoft.com/office/drawing/2014/main" val="1186068986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481327539"/>
                    </a:ext>
                  </a:extLst>
                </a:gridCol>
                <a:gridCol w="2124000">
                  <a:extLst>
                    <a:ext uri="{9D8B030D-6E8A-4147-A177-3AD203B41FA5}">
                      <a16:colId xmlns:a16="http://schemas.microsoft.com/office/drawing/2014/main" val="3588383417"/>
                    </a:ext>
                  </a:extLst>
                </a:gridCol>
                <a:gridCol w="2124000">
                  <a:extLst>
                    <a:ext uri="{9D8B030D-6E8A-4147-A177-3AD203B41FA5}">
                      <a16:colId xmlns:a16="http://schemas.microsoft.com/office/drawing/2014/main" val="70105839"/>
                    </a:ext>
                  </a:extLst>
                </a:gridCol>
              </a:tblGrid>
              <a:tr h="379459"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а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и НДС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и</a:t>
                      </a:r>
                      <a:r>
                        <a:rPr lang="kk-KZ" sz="1400" b="1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ПН </a:t>
                      </a:r>
                    </a:p>
                    <a:p>
                      <a:pPr algn="ctr" fontAlgn="b"/>
                      <a:r>
                        <a:rPr lang="kk-KZ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налог на прибыль)</a:t>
                      </a:r>
                      <a:endParaRPr lang="ru-RU" sz="1100" b="0" i="1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и ИПН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313175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х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219549"/>
                  </a:ext>
                </a:extLst>
              </a:tr>
              <a:tr h="2212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тай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916155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збеки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-2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-22,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049921"/>
                  </a:ext>
                </a:extLst>
              </a:tr>
              <a:tr h="70523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ША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-5%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400" b="0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ДС отсутствует, вместо НДС применяется налог с продаж – </a:t>
                      </a:r>
                      <a:r>
                        <a:rPr lang="kk-KZ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сП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00" b="0" i="1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472727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разил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-27,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882678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50603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страл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ДС отсутствует, применяется </a:t>
                      </a:r>
                      <a:r>
                        <a:rPr kumimoji="0" lang="kk-KZ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сП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302649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14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пон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ДС отсутствует, применяется </a:t>
                      </a:r>
                      <a:r>
                        <a:rPr kumimoji="0" lang="kk-KZ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сП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590903"/>
                  </a:ext>
                </a:extLst>
              </a:tr>
              <a:tr h="2212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тва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28064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раина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439691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998695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рман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045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781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4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264919" y="255588"/>
            <a:ext cx="9827664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ОДХОДЫ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97CE4D-4D49-4395-B4EF-C453F2531993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64919" y="1290633"/>
            <a:ext cx="9408919" cy="4108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вый подход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увеличение собираемости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логов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торой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ход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перенос нагрузки на более высокодоходные отрасли и усиление отдачи от богатых слоев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селения</a:t>
            </a:r>
            <a:endParaRPr lang="kk-KZ" sz="20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31115" indent="-1714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тий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ход 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соответствие международной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ктике и учет международых обязательств Казахстана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293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5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01651" y="255588"/>
            <a:ext cx="950434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ЯТНАЯ И ПРЕДСКАЗУЕМАЯ НАЛОГОВАЯ ПОЛИТИКА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388" y="1492250"/>
            <a:ext cx="9461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97CE4D-4D49-4395-B4EF-C453F2531993}" type="slidenum">
              <a:rPr lang="ru-RU" smtClean="0"/>
              <a:pPr/>
              <a:t>5</a:t>
            </a:fld>
            <a:endParaRPr lang="ru-RU"/>
          </a:p>
        </p:txBody>
      </p:sp>
      <p:grpSp>
        <p:nvGrpSpPr>
          <p:cNvPr id="54" name="Group 82"/>
          <p:cNvGrpSpPr>
            <a:grpSpLocks/>
          </p:cNvGrpSpPr>
          <p:nvPr/>
        </p:nvGrpSpPr>
        <p:grpSpPr bwMode="auto">
          <a:xfrm>
            <a:off x="263524" y="891694"/>
            <a:ext cx="4038601" cy="281832"/>
            <a:chOff x="149549" y="582435"/>
            <a:chExt cx="4037802" cy="283532"/>
          </a:xfrm>
        </p:grpSpPr>
        <p:cxnSp>
          <p:nvCxnSpPr>
            <p:cNvPr id="55" name="AutoShape 249"/>
            <p:cNvCxnSpPr>
              <a:cxnSpLocks noChangeShapeType="1"/>
            </p:cNvCxnSpPr>
            <p:nvPr/>
          </p:nvCxnSpPr>
          <p:spPr bwMode="gray">
            <a:xfrm>
              <a:off x="149549" y="865967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6" name="TextBox 89"/>
            <p:cNvSpPr txBox="1">
              <a:spLocks/>
            </p:cNvSpPr>
            <p:nvPr/>
          </p:nvSpPr>
          <p:spPr bwMode="gray">
            <a:xfrm>
              <a:off x="174945" y="582435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ОЖЕНИЕ</a:t>
              </a:r>
            </a:p>
          </p:txBody>
        </p:sp>
      </p:grpSp>
      <p:grpSp>
        <p:nvGrpSpPr>
          <p:cNvPr id="57" name="Group 92"/>
          <p:cNvGrpSpPr>
            <a:grpSpLocks/>
          </p:cNvGrpSpPr>
          <p:nvPr/>
        </p:nvGrpSpPr>
        <p:grpSpPr bwMode="auto">
          <a:xfrm>
            <a:off x="5411708" y="909945"/>
            <a:ext cx="3997324" cy="260071"/>
            <a:chOff x="4728435" y="784602"/>
            <a:chExt cx="3997655" cy="260378"/>
          </a:xfrm>
        </p:grpSpPr>
        <p:sp>
          <p:nvSpPr>
            <p:cNvPr id="58" name="TextBox 94"/>
            <p:cNvSpPr txBox="1">
              <a:spLocks/>
            </p:cNvSpPr>
            <p:nvPr/>
          </p:nvSpPr>
          <p:spPr bwMode="gray">
            <a:xfrm>
              <a:off x="4741308" y="784602"/>
              <a:ext cx="3984781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МЕЧАНИЕ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9" name="AutoShape 249"/>
            <p:cNvCxnSpPr>
              <a:cxnSpLocks noChangeShapeType="1"/>
            </p:cNvCxnSpPr>
            <p:nvPr/>
          </p:nvCxnSpPr>
          <p:spPr bwMode="gray">
            <a:xfrm>
              <a:off x="4728435" y="1044980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60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H="1" flipV="1">
            <a:off x="5183033" y="990662"/>
            <a:ext cx="3910" cy="563232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14"/>
          <p:cNvCxnSpPr>
            <a:cxnSpLocks/>
          </p:cNvCxnSpPr>
          <p:nvPr/>
        </p:nvCxnSpPr>
        <p:spPr>
          <a:xfrm>
            <a:off x="151254" y="2428934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110"/>
          <p:cNvSpPr txBox="1">
            <a:spLocks/>
          </p:cNvSpPr>
          <p:nvPr/>
        </p:nvSpPr>
        <p:spPr bwMode="auto">
          <a:xfrm>
            <a:off x="179997" y="1223671"/>
            <a:ext cx="492701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 Концепции налоговой политики до 2030 год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kk-KZ" alt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ие всех планируемых </a:t>
            </a:r>
            <a:r>
              <a:rPr lang="kk-KZ" alt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й</a:t>
            </a:r>
            <a:endParaRPr lang="kk-KZ" alt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88608" y="1197339"/>
            <a:ext cx="44499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казуемость </a:t>
            </a:r>
            <a:r>
              <a:rPr lang="kk-KZ" sz="1600" b="1" dirty="0">
                <a:latin typeface="Arial" panose="020B0604020202020204" pitchFamily="34" charset="0"/>
                <a:cs typeface="Arial" panose="020B0604020202020204" pitchFamily="34" charset="0"/>
              </a:rPr>
              <a:t>налоговой политики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110"/>
          <p:cNvSpPr txBox="1">
            <a:spLocks/>
          </p:cNvSpPr>
          <p:nvPr/>
        </p:nvSpPr>
        <p:spPr bwMode="auto">
          <a:xfrm>
            <a:off x="151254" y="2809686"/>
            <a:ext cx="4927014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marL="179388" indent="-179388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ческого совета при МНЭ </a:t>
            </a:r>
            <a:r>
              <a:rPr lang="ru-RU" alt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озможное переименование на Консультационный совет – КС 2.0)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го толкования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ных норм</a:t>
            </a:r>
          </a:p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</a:t>
            </a:r>
            <a:r>
              <a:rPr lang="kk-KZ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кодекс </a:t>
            </a:r>
            <a:r>
              <a:rPr lang="kk-KZ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отдельного Закона о введении в действие</a:t>
            </a:r>
            <a:endParaRPr lang="en-US" alt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руктуре текста </a:t>
            </a:r>
            <a:r>
              <a:rPr lang="kk-KZ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о</a:t>
            </a:r>
            <a:r>
              <a:rPr lang="kk-KZ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декс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кращение ссылок и т.д.</a:t>
            </a:r>
            <a:r>
              <a:rPr lang="ru-RU" alt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kk-KZ" alt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288608" y="2772860"/>
            <a:ext cx="44468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нятное налоговое законодательство</a:t>
            </a:r>
            <a:endParaRPr lang="ru-RU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370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6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384561" y="128187"/>
            <a:ext cx="9521440" cy="61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kk-KZ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СТАВОК НАЛОГОВ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88925" y="1091798"/>
            <a:ext cx="4013200" cy="276626"/>
            <a:chOff x="174945" y="783744"/>
            <a:chExt cx="4012406" cy="278294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ОЖЕНИЕ</a:t>
              </a: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4606183" y="1020814"/>
            <a:ext cx="4798167" cy="358623"/>
            <a:chOff x="4728435" y="784602"/>
            <a:chExt cx="3997656" cy="277436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728435" y="784602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МЕЧАНИЕ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518882" y="95622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4"/>
          <p:cNvCxnSpPr>
            <a:cxnSpLocks/>
          </p:cNvCxnSpPr>
          <p:nvPr/>
        </p:nvCxnSpPr>
        <p:spPr>
          <a:xfrm>
            <a:off x="231716" y="3840371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10"/>
          <p:cNvSpPr txBox="1">
            <a:spLocks/>
          </p:cNvSpPr>
          <p:nvPr/>
        </p:nvSpPr>
        <p:spPr bwMode="auto">
          <a:xfrm>
            <a:off x="231716" y="1482527"/>
            <a:ext cx="3998446" cy="233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 вопроса:</a:t>
            </a:r>
          </a:p>
          <a:p>
            <a:pPr marL="285750" indent="-285750"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kk-KZ" altLang="ru-RU" sz="16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и ставки НДС </a:t>
            </a:r>
          </a:p>
          <a:p>
            <a:pPr marL="0" indent="0" algn="ctr" eaLnBrk="1" hangingPunct="1">
              <a:spcAft>
                <a:spcPts val="1200"/>
              </a:spcAft>
              <a:buClr>
                <a:srgbClr val="0070CE"/>
              </a:buClr>
            </a:pPr>
            <a:r>
              <a:rPr lang="kk-KZ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бо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16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я 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ы НДС к уплате </a:t>
            </a:r>
            <a:r>
              <a:rPr lang="ru-RU" alt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аналогии с НДС (-70%) для СХТП) 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иоритетным отраслям экономики</a:t>
            </a:r>
          </a:p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endParaRPr lang="ru-RU" alt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18882" y="1407354"/>
            <a:ext cx="4927882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НДС в Казахстане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же, чем в среднем по СНГ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7%) и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ЭСР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9,3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 и одна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амых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е 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5113" indent="-265113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тавки НДС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и, Беларуси и Армении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в Кыргызстане – </a:t>
            </a:r>
            <a:r>
              <a:rPr lang="ru-RU" sz="1100" b="1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2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в Узбекистане – </a:t>
            </a:r>
            <a:r>
              <a:rPr lang="ru-RU" sz="1100" b="1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5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Дании и Норвегии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в Испании, Латвии, Литве и Нидерландах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во Франции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,6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в Германии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в Азербайджане и Грузии 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endParaRPr lang="ru-RU" sz="1100" i="1" dirty="0" smtClean="0">
              <a:solidFill>
                <a:srgbClr val="002060"/>
              </a:solidFill>
              <a:latin typeface="Arial"/>
              <a:cs typeface="Arial" panose="020B0604020202020204" pitchFamily="34" charset="0"/>
            </a:endParaRPr>
          </a:p>
          <a:p>
            <a:pPr marL="265113" indent="-265113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Дифференцированные ставки требуют ведения </a:t>
            </a:r>
            <a:r>
              <a:rPr lang="ru-RU" sz="1600" b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раздельного налогового учета</a:t>
            </a:r>
            <a:endParaRPr lang="ru-RU" sz="1600" b="1" dirty="0">
              <a:solidFill>
                <a:srgbClr val="00206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7" name="TextBox 110"/>
          <p:cNvSpPr txBox="1">
            <a:spLocks/>
          </p:cNvSpPr>
          <p:nvPr/>
        </p:nvSpPr>
        <p:spPr bwMode="auto">
          <a:xfrm>
            <a:off x="231716" y="4033676"/>
            <a:ext cx="4055655" cy="1023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ставки КПН в зависимости от отрасли экономики:</a:t>
            </a:r>
          </a:p>
          <a:p>
            <a:pPr marL="285750" indent="-285750"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е повышение ставок для сырьевого и 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го 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ов</a:t>
            </a:r>
            <a:endParaRPr lang="en-US" alt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606183" y="4022638"/>
            <a:ext cx="4953000" cy="22365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тавки налога на прибыль в мире: </a:t>
            </a:r>
          </a:p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ША – до 40%, Франция – 38%, Япония – 33%, Германия – 30%, Норвегия – 27%, Канада - 26%, Финляндия – 20%. Ставки КПН в странах ЕАЭС: России – 20%, Белоруссии – 18%, Кыргызстане – 10%, Армении – 20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%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тавки КПН в Узбекистане в зависимости от отрасли </a:t>
            </a:r>
            <a:r>
              <a:rPr lang="en-US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c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ставляет с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2% до 22%.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В Норвегии для нефтедобывающих компаний есть специальный налог в размере 50% от прибыли, в Великобритании есть дополнительный налог на нефть и газ в размере 32%, в Китае есть специальный налог на прибыль от добычи нефти от 20% до 40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%</a:t>
            </a: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066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7</a:t>
            </a:fld>
            <a:endParaRPr lang="ru-RU" dirty="0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1162395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504202" y="289980"/>
            <a:ext cx="9135106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r>
              <a:rPr lang="ru-RU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Ы СНИЖЕНИЯ ИЛИ ОСВОБОЖДЕНИЯ ОТ КПН С ПРИБЫЛИ, НАПРАВЛЕННОЙ НА ТЕХНОЛОГИЧЕСКУЮ МОДЕРНИЗАЦИЮ И НАУЧНЫЕ РАЗРАБОТКИ</a:t>
            </a:r>
            <a:endParaRPr lang="ru-RU" sz="2000" b="1" kern="0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82"/>
          <p:cNvGrpSpPr>
            <a:grpSpLocks/>
          </p:cNvGrpSpPr>
          <p:nvPr/>
        </p:nvGrpSpPr>
        <p:grpSpPr bwMode="auto">
          <a:xfrm>
            <a:off x="288925" y="1254169"/>
            <a:ext cx="4013200" cy="276626"/>
            <a:chOff x="174945" y="783744"/>
            <a:chExt cx="4012406" cy="278294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ОЖЕНИЕ</a:t>
              </a:r>
            </a:p>
          </p:txBody>
        </p:sp>
      </p:grpSp>
      <p:grpSp>
        <p:nvGrpSpPr>
          <p:cNvPr id="9" name="Group 92"/>
          <p:cNvGrpSpPr>
            <a:grpSpLocks/>
          </p:cNvGrpSpPr>
          <p:nvPr/>
        </p:nvGrpSpPr>
        <p:grpSpPr bwMode="auto">
          <a:xfrm>
            <a:off x="4999291" y="1264699"/>
            <a:ext cx="4405060" cy="277109"/>
            <a:chOff x="4728435" y="784602"/>
            <a:chExt cx="3997656" cy="277436"/>
          </a:xfrm>
        </p:grpSpPr>
        <p:sp>
          <p:nvSpPr>
            <p:cNvPr id="10" name="TextBox 94"/>
            <p:cNvSpPr txBox="1">
              <a:spLocks/>
            </p:cNvSpPr>
            <p:nvPr/>
          </p:nvSpPr>
          <p:spPr bwMode="gray">
            <a:xfrm>
              <a:off x="4728435" y="784602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МЕЧАНИЕ</a:t>
              </a:r>
            </a:p>
          </p:txBody>
        </p:sp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899091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10"/>
          <p:cNvSpPr txBox="1">
            <a:spLocks/>
          </p:cNvSpPr>
          <p:nvPr/>
        </p:nvSpPr>
        <p:spPr bwMode="auto">
          <a:xfrm>
            <a:off x="255978" y="1571517"/>
            <a:ext cx="4513743" cy="3677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 algn="just">
              <a:spcAft>
                <a:spcPts val="300"/>
              </a:spcAft>
              <a:buClr>
                <a:srgbClr val="0070CE"/>
              </a:buClr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рименения действующих льготных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</a:t>
            </a:r>
          </a:p>
          <a:p>
            <a:pPr marL="0" indent="0" algn="just">
              <a:spcAft>
                <a:spcPts val="300"/>
              </a:spcAft>
              <a:buClr>
                <a:srgbClr val="0070CE"/>
              </a:buClr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остранени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ы п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ю от КПН при реинвестировании прибыли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оизводство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на субъекты малого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а,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 н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в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атывающей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ышленности</a:t>
            </a: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endParaRPr lang="kk-KZ" alt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endParaRPr lang="kk-KZ" alt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льготы </a:t>
            </a:r>
            <a:r>
              <a:rPr lang="kk-KZ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иде </a:t>
            </a: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ов в 1,5-кратном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е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ов на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научных центров</a:t>
            </a:r>
            <a:endParaRPr lang="ru-RU" altLang="ru-RU" sz="2400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899091" y="2350369"/>
            <a:ext cx="4740217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 января 2022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года действует норма о том, что если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убъекты малого бизнеса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в сфере обрабатывающей промышленности будут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правлять свои 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чистые доходы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 реинвестирование в новые основные фонд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то такие доходы не будут облагаться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ПН</a:t>
            </a: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kk-KZ" altLang="ru-RU" sz="20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но действующему Налоговому кодексу расходы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финансирование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ОКР относятся на </a:t>
            </a: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ы </a:t>
            </a:r>
            <a:r>
              <a:rPr lang="kk-KZ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-кратном размере</a:t>
            </a:r>
            <a:endParaRPr lang="kk-KZ" altLang="ru-RU" sz="16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kk-KZ" altLang="ru-RU" sz="16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969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8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ОЩЕНИЕ СПЕЦИАЛЬНЫХ НАЛОГОВЫХ РЕЖИМОВ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88925" y="1091798"/>
            <a:ext cx="4013200" cy="276626"/>
            <a:chOff x="174945" y="783744"/>
            <a:chExt cx="4012406" cy="278294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ОЖЕНИЕ</a:t>
              </a: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5407025" y="1102328"/>
            <a:ext cx="3997325" cy="277109"/>
            <a:chOff x="4728435" y="784602"/>
            <a:chExt cx="3997656" cy="277436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728435" y="784602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СНОВАНИЕ</a:t>
              </a: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" name="Прямоугольник 10"/>
          <p:cNvSpPr/>
          <p:nvPr/>
        </p:nvSpPr>
        <p:spPr>
          <a:xfrm>
            <a:off x="0" y="1466911"/>
            <a:ext cx="4899091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Объединение режимов со схожими условиями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к примеру, патент и СНР с использованием мобильного приложения)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Упразднение невостребованных режимов </a:t>
            </a:r>
            <a:b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</a:b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к примеру, режим фиксированного вычета)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Пересмотр условий применений режимов с учетом данных фактического применения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количество работников, максимальный оборот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57516" y="1422684"/>
            <a:ext cx="469923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жество СНР, ставок, правил, ограничений видов деятельности создает сложности для выбора и применения режимов налогоплательщиками</a:t>
            </a:r>
          </a:p>
        </p:txBody>
      </p: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957516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271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jshc8vKUyxkb8Ubap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32</TotalTime>
  <Words>812</Words>
  <Application>Microsoft Office PowerPoint</Application>
  <PresentationFormat>Лист A4 (210x297 мм)</PresentationFormat>
  <Paragraphs>165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ＭＳ Ｐゴシック</vt:lpstr>
      <vt:lpstr>Arial</vt:lpstr>
      <vt:lpstr>Calibri</vt:lpstr>
      <vt:lpstr>Calibri Light</vt:lpstr>
      <vt:lpstr>Gill Sans</vt:lpstr>
      <vt:lpstr>Segoe UI Black</vt:lpstr>
      <vt:lpstr>Segoe UI Light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СРАВНИТЕЛЬНЫЙ АНАЛИЗ СТАВОК ОСНОВНЫХ НАЛОГ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урлыбек Шаймаханов</dc:creator>
  <cp:lastModifiedBy>Карина Лазарева</cp:lastModifiedBy>
  <cp:revision>229</cp:revision>
  <cp:lastPrinted>2023-05-02T09:41:20Z</cp:lastPrinted>
  <dcterms:created xsi:type="dcterms:W3CDTF">2022-08-19T08:49:13Z</dcterms:created>
  <dcterms:modified xsi:type="dcterms:W3CDTF">2023-05-03T05:21:01Z</dcterms:modified>
</cp:coreProperties>
</file>